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comments/modernComment_165_1CC50623.xml" ContentType="application/vnd.ms-powerpoint.comment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7" r:id="rId4"/>
    <p:sldMasterId id="2147483648" r:id="rId5"/>
    <p:sldMasterId id="2147483876" r:id="rId6"/>
    <p:sldMasterId id="2147483967" r:id="rId7"/>
  </p:sldMasterIdLst>
  <p:notesMasterIdLst>
    <p:notesMasterId r:id="rId37"/>
  </p:notesMasterIdLst>
  <p:handoutMasterIdLst>
    <p:handoutMasterId r:id="rId38"/>
  </p:handoutMasterIdLst>
  <p:sldIdLst>
    <p:sldId id="358" r:id="rId8"/>
    <p:sldId id="357" r:id="rId9"/>
    <p:sldId id="341" r:id="rId10"/>
    <p:sldId id="359" r:id="rId11"/>
    <p:sldId id="365" r:id="rId12"/>
    <p:sldId id="366" r:id="rId13"/>
    <p:sldId id="367" r:id="rId14"/>
    <p:sldId id="368" r:id="rId15"/>
    <p:sldId id="369" r:id="rId16"/>
    <p:sldId id="370" r:id="rId17"/>
    <p:sldId id="364" r:id="rId18"/>
    <p:sldId id="360" r:id="rId19"/>
    <p:sldId id="372" r:id="rId20"/>
    <p:sldId id="373" r:id="rId21"/>
    <p:sldId id="374" r:id="rId22"/>
    <p:sldId id="375" r:id="rId23"/>
    <p:sldId id="361" r:id="rId24"/>
    <p:sldId id="377" r:id="rId25"/>
    <p:sldId id="378" r:id="rId26"/>
    <p:sldId id="376" r:id="rId27"/>
    <p:sldId id="362" r:id="rId28"/>
    <p:sldId id="380" r:id="rId29"/>
    <p:sldId id="381" r:id="rId30"/>
    <p:sldId id="379" r:id="rId31"/>
    <p:sldId id="344" r:id="rId32"/>
    <p:sldId id="345" r:id="rId33"/>
    <p:sldId id="349" r:id="rId34"/>
    <p:sldId id="346" r:id="rId35"/>
    <p:sldId id="347" r:id="rId36"/>
  </p:sldIdLst>
  <p:sldSz cx="12192000" cy="6858000"/>
  <p:notesSz cx="6858000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6AF41A-37EE-44DA-66E1-5670CA585BD3}" name="Ambrosi, Gianluca (UT-ITC)" initials="GA" userId="S::g.j.ambrosi@utwente.nl::64130bdc-4258-4a7e-bca2-b0a19a9c0d34" providerId="AD"/>
  <p188:author id="{4BDA6989-5757-9284-1598-BF4D949C2D60}" name="Dahal, Ashok (UT-ITC)" initials="AD" userId="S::a.dahal@utwente.nl::d9490206-4512-4fbb-85ae-d27a3553ca6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2433"/>
    <a:srgbClr val="00675A"/>
    <a:srgbClr val="939598"/>
    <a:srgbClr val="FFFFFF"/>
    <a:srgbClr val="002395"/>
    <a:srgbClr val="1E2328"/>
    <a:srgbClr val="000000"/>
    <a:srgbClr val="59595B"/>
    <a:srgbClr val="F0F0F0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8"/>
    <p:restoredTop sz="94767"/>
  </p:normalViewPr>
  <p:slideViewPr>
    <p:cSldViewPr snapToGrid="0">
      <p:cViewPr varScale="1">
        <p:scale>
          <a:sx n="131" d="100"/>
          <a:sy n="131" d="100"/>
        </p:scale>
        <p:origin x="10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gs" Target="tags/tag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3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hal, Ashok (UT-ITC)" userId="d9490206-4512-4fbb-85ae-d27a3553ca64" providerId="ADAL" clId="{A4E72B19-233E-C74C-A96C-4BDC088635FD}"/>
    <pc:docChg chg="modSld">
      <pc:chgData name="Dahal, Ashok (UT-ITC)" userId="d9490206-4512-4fbb-85ae-d27a3553ca64" providerId="ADAL" clId="{A4E72B19-233E-C74C-A96C-4BDC088635FD}" dt="2024-11-30T05:55:56.700" v="1" actId="729"/>
      <pc:docMkLst>
        <pc:docMk/>
      </pc:docMkLst>
      <pc:sldChg chg="mod modShow">
        <pc:chgData name="Dahal, Ashok (UT-ITC)" userId="d9490206-4512-4fbb-85ae-d27a3553ca64" providerId="ADAL" clId="{A4E72B19-233E-C74C-A96C-4BDC088635FD}" dt="2024-11-30T05:55:56.700" v="1" actId="729"/>
        <pc:sldMkLst>
          <pc:docMk/>
          <pc:sldMk cId="1158073933" sldId="341"/>
        </pc:sldMkLst>
      </pc:sldChg>
      <pc:sldChg chg="mod modShow">
        <pc:chgData name="Dahal, Ashok (UT-ITC)" userId="d9490206-4512-4fbb-85ae-d27a3553ca64" providerId="ADAL" clId="{A4E72B19-233E-C74C-A96C-4BDC088635FD}" dt="2024-11-30T05:55:52.067" v="0" actId="729"/>
        <pc:sldMkLst>
          <pc:docMk/>
          <pc:sldMk cId="482674211" sldId="357"/>
        </pc:sldMkLst>
      </pc:sldChg>
    </pc:docChg>
  </pc:docChgLst>
  <pc:docChgLst>
    <pc:chgData name="Ambrosi, Gianluca (UT-ITC)" userId="S::g.j.ambrosi@utwente.nl::64130bdc-4258-4a7e-bca2-b0a19a9c0d34" providerId="AD" clId="Web-{ADBB1DB4-1FC9-D27D-9439-9285B1FEB61E}"/>
    <pc:docChg chg="modSld">
      <pc:chgData name="Ambrosi, Gianluca (UT-ITC)" userId="S::g.j.ambrosi@utwente.nl::64130bdc-4258-4a7e-bca2-b0a19a9c0d34" providerId="AD" clId="Web-{ADBB1DB4-1FC9-D27D-9439-9285B1FEB61E}" dt="2024-08-26T06:45:41.422" v="1"/>
      <pc:docMkLst>
        <pc:docMk/>
      </pc:docMkLst>
      <pc:sldChg chg="mod modShow">
        <pc:chgData name="Ambrosi, Gianluca (UT-ITC)" userId="S::g.j.ambrosi@utwente.nl::64130bdc-4258-4a7e-bca2-b0a19a9c0d34" providerId="AD" clId="Web-{ADBB1DB4-1FC9-D27D-9439-9285B1FEB61E}" dt="2024-08-26T06:45:39.469" v="0"/>
        <pc:sldMkLst>
          <pc:docMk/>
          <pc:sldMk cId="1189397871" sldId="345"/>
        </pc:sldMkLst>
      </pc:sldChg>
      <pc:sldChg chg="mod modShow">
        <pc:chgData name="Ambrosi, Gianluca (UT-ITC)" userId="S::g.j.ambrosi@utwente.nl::64130bdc-4258-4a7e-bca2-b0a19a9c0d34" providerId="AD" clId="Web-{ADBB1DB4-1FC9-D27D-9439-9285B1FEB61E}" dt="2024-08-26T06:45:41.422" v="1"/>
        <pc:sldMkLst>
          <pc:docMk/>
          <pc:sldMk cId="3605155087" sldId="349"/>
        </pc:sldMkLst>
      </pc:sldChg>
    </pc:docChg>
  </pc:docChgLst>
  <pc:docChgLst>
    <pc:chgData name="Ambrosi, Gianluca (UT-ITC)" userId="64130bdc-4258-4a7e-bca2-b0a19a9c0d34" providerId="ADAL" clId="{1C6E4521-AF21-4306-B941-766EDF733EE5}"/>
    <pc:docChg chg="undo custSel addSld delSld modSld sldOrd delSection">
      <pc:chgData name="Ambrosi, Gianluca (UT-ITC)" userId="64130bdc-4258-4a7e-bca2-b0a19a9c0d34" providerId="ADAL" clId="{1C6E4521-AF21-4306-B941-766EDF733EE5}" dt="2024-09-04T12:43:37.343" v="1242" actId="207"/>
      <pc:docMkLst>
        <pc:docMk/>
      </pc:docMkLst>
      <pc:sldChg chg="modSp del">
        <pc:chgData name="Ambrosi, Gianluca (UT-ITC)" userId="64130bdc-4258-4a7e-bca2-b0a19a9c0d34" providerId="ADAL" clId="{1C6E4521-AF21-4306-B941-766EDF733EE5}" dt="2024-08-16T07:33:30.027" v="22" actId="47"/>
        <pc:sldMkLst>
          <pc:docMk/>
          <pc:sldMk cId="841672508" sldId="317"/>
        </pc:sldMkLst>
      </pc:sldChg>
      <pc:sldChg chg="mod modShow">
        <pc:chgData name="Ambrosi, Gianluca (UT-ITC)" userId="64130bdc-4258-4a7e-bca2-b0a19a9c0d34" providerId="ADAL" clId="{1C6E4521-AF21-4306-B941-766EDF733EE5}" dt="2024-08-26T09:13:30.594" v="1129" actId="729"/>
        <pc:sldMkLst>
          <pc:docMk/>
          <pc:sldMk cId="1158073933" sldId="341"/>
        </pc:sldMkLst>
      </pc:sldChg>
      <pc:sldChg chg="mod modShow">
        <pc:chgData name="Ambrosi, Gianluca (UT-ITC)" userId="64130bdc-4258-4a7e-bca2-b0a19a9c0d34" providerId="ADAL" clId="{1C6E4521-AF21-4306-B941-766EDF733EE5}" dt="2024-08-16T08:17:09.995" v="1126" actId="729"/>
        <pc:sldMkLst>
          <pc:docMk/>
          <pc:sldMk cId="2035827547" sldId="342"/>
        </pc:sldMkLst>
      </pc:sldChg>
      <pc:sldChg chg="mod modShow">
        <pc:chgData name="Ambrosi, Gianluca (UT-ITC)" userId="64130bdc-4258-4a7e-bca2-b0a19a9c0d34" providerId="ADAL" clId="{1C6E4521-AF21-4306-B941-766EDF733EE5}" dt="2024-08-16T08:17:05.950" v="1124" actId="729"/>
        <pc:sldMkLst>
          <pc:docMk/>
          <pc:sldMk cId="838759490" sldId="343"/>
        </pc:sldMkLst>
      </pc:sldChg>
      <pc:sldChg chg="mod modShow">
        <pc:chgData name="Ambrosi, Gianluca (UT-ITC)" userId="64130bdc-4258-4a7e-bca2-b0a19a9c0d34" providerId="ADAL" clId="{1C6E4521-AF21-4306-B941-766EDF733EE5}" dt="2024-08-16T08:17:08.053" v="1125" actId="729"/>
        <pc:sldMkLst>
          <pc:docMk/>
          <pc:sldMk cId="477426983" sldId="344"/>
        </pc:sldMkLst>
      </pc:sldChg>
      <pc:sldChg chg="addCm">
        <pc:chgData name="Ambrosi, Gianluca (UT-ITC)" userId="64130bdc-4258-4a7e-bca2-b0a19a9c0d34" providerId="ADAL" clId="{1C6E4521-AF21-4306-B941-766EDF733EE5}" dt="2024-08-16T08:18:30.697" v="1127"/>
        <pc:sldMkLst>
          <pc:docMk/>
          <pc:sldMk cId="1189397871" sldId="34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mbrosi, Gianluca (UT-ITC)" userId="64130bdc-4258-4a7e-bca2-b0a19a9c0d34" providerId="ADAL" clId="{1C6E4521-AF21-4306-B941-766EDF733EE5}" dt="2024-08-16T08:18:30.697" v="1127"/>
              <pc2:cmMkLst xmlns:pc2="http://schemas.microsoft.com/office/powerpoint/2019/9/main/command">
                <pc:docMk/>
                <pc:sldMk cId="1189397871" sldId="345"/>
                <pc2:cmMk id="{580CE8A2-EC0D-4F16-AA53-BA69DB3AF4EC}"/>
              </pc2:cmMkLst>
            </pc226:cmChg>
          </p:ext>
        </pc:extLst>
      </pc:sldChg>
      <pc:sldChg chg="modSp mod modShow addCm">
        <pc:chgData name="Ambrosi, Gianluca (UT-ITC)" userId="64130bdc-4258-4a7e-bca2-b0a19a9c0d34" providerId="ADAL" clId="{1C6E4521-AF21-4306-B941-766EDF733EE5}" dt="2024-08-26T10:12:30.353" v="1138" actId="729"/>
        <pc:sldMkLst>
          <pc:docMk/>
          <pc:sldMk cId="4091042313" sldId="34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mbrosi, Gianluca (UT-ITC)" userId="64130bdc-4258-4a7e-bca2-b0a19a9c0d34" providerId="ADAL" clId="{1C6E4521-AF21-4306-B941-766EDF733EE5}" dt="2024-08-16T08:19:02.922" v="1128"/>
              <pc2:cmMkLst xmlns:pc2="http://schemas.microsoft.com/office/powerpoint/2019/9/main/command">
                <pc:docMk/>
                <pc:sldMk cId="4091042313" sldId="346"/>
                <pc2:cmMk id="{3932C285-3537-493F-8971-5EE2877BC83B}"/>
              </pc2:cmMkLst>
            </pc226:cmChg>
          </p:ext>
        </pc:extLst>
      </pc:sldChg>
      <pc:sldChg chg="modSp mod modShow">
        <pc:chgData name="Ambrosi, Gianluca (UT-ITC)" userId="64130bdc-4258-4a7e-bca2-b0a19a9c0d34" providerId="ADAL" clId="{1C6E4521-AF21-4306-B941-766EDF733EE5}" dt="2024-08-26T10:12:33.037" v="1139" actId="729"/>
        <pc:sldMkLst>
          <pc:docMk/>
          <pc:sldMk cId="1938769361" sldId="347"/>
        </pc:sldMkLst>
      </pc:sldChg>
      <pc:sldChg chg="mod ord modShow modCm">
        <pc:chgData name="Ambrosi, Gianluca (UT-ITC)" userId="64130bdc-4258-4a7e-bca2-b0a19a9c0d34" providerId="ADAL" clId="{1C6E4521-AF21-4306-B941-766EDF733EE5}" dt="2024-08-26T10:01:37.356" v="1130"/>
        <pc:sldMkLst>
          <pc:docMk/>
          <pc:sldMk cId="482674211" sldId="3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mbrosi, Gianluca (UT-ITC)" userId="64130bdc-4258-4a7e-bca2-b0a19a9c0d34" providerId="ADAL" clId="{1C6E4521-AF21-4306-B941-766EDF733EE5}" dt="2024-08-26T10:01:37.356" v="1130"/>
              <pc2:cmMkLst xmlns:pc2="http://schemas.microsoft.com/office/powerpoint/2019/9/main/command">
                <pc:docMk/>
                <pc:sldMk cId="482674211" sldId="357"/>
                <pc2:cmMk id="{5B363EB9-4664-4845-BAED-3377DF3A24B4}"/>
              </pc2:cmMkLst>
              <pc226:cmRplyChg chg="add">
                <pc226:chgData name="Ambrosi, Gianluca (UT-ITC)" userId="64130bdc-4258-4a7e-bca2-b0a19a9c0d34" providerId="ADAL" clId="{1C6E4521-AF21-4306-B941-766EDF733EE5}" dt="2024-08-16T07:33:56.105" v="25"/>
                <pc2:cmRplyMkLst xmlns:pc2="http://schemas.microsoft.com/office/powerpoint/2019/9/main/command">
                  <pc:docMk/>
                  <pc:sldMk cId="482674211" sldId="357"/>
                  <pc2:cmMk id="{5B363EB9-4664-4845-BAED-3377DF3A24B4}"/>
                  <pc2:cmRplyMk id="{FB0144A4-8C68-4D2D-A2A6-64CF9BD4D6AF}"/>
                </pc2:cmRplyMkLst>
              </pc226:cmRplyChg>
            </pc226:cmChg>
          </p:ext>
        </pc:extLst>
      </pc:sldChg>
      <pc:sldChg chg="delSp modSp new mod">
        <pc:chgData name="Ambrosi, Gianluca (UT-ITC)" userId="64130bdc-4258-4a7e-bca2-b0a19a9c0d34" providerId="ADAL" clId="{1C6E4521-AF21-4306-B941-766EDF733EE5}" dt="2024-09-04T12:25:34.247" v="1209" actId="1076"/>
        <pc:sldMkLst>
          <pc:docMk/>
          <pc:sldMk cId="781910563" sldId="358"/>
        </pc:sldMkLst>
      </pc:sldChg>
      <pc:sldChg chg="delSp modSp new mod">
        <pc:chgData name="Ambrosi, Gianluca (UT-ITC)" userId="64130bdc-4258-4a7e-bca2-b0a19a9c0d34" providerId="ADAL" clId="{1C6E4521-AF21-4306-B941-766EDF733EE5}" dt="2024-09-04T12:22:37.431" v="1145" actId="207"/>
        <pc:sldMkLst>
          <pc:docMk/>
          <pc:sldMk cId="308706791" sldId="359"/>
        </pc:sldMkLst>
      </pc:sldChg>
      <pc:sldChg chg="delSp modSp add mod">
        <pc:chgData name="Ambrosi, Gianluca (UT-ITC)" userId="64130bdc-4258-4a7e-bca2-b0a19a9c0d34" providerId="ADAL" clId="{1C6E4521-AF21-4306-B941-766EDF733EE5}" dt="2024-09-04T12:30:28.303" v="1211" actId="207"/>
        <pc:sldMkLst>
          <pc:docMk/>
          <pc:sldMk cId="1110835911" sldId="360"/>
        </pc:sldMkLst>
      </pc:sldChg>
      <pc:sldChg chg="addSp delSp modSp add mod">
        <pc:chgData name="Ambrosi, Gianluca (UT-ITC)" userId="64130bdc-4258-4a7e-bca2-b0a19a9c0d34" providerId="ADAL" clId="{1C6E4521-AF21-4306-B941-766EDF733EE5}" dt="2024-09-04T12:38:25.190" v="1230" actId="207"/>
        <pc:sldMkLst>
          <pc:docMk/>
          <pc:sldMk cId="3321523425" sldId="361"/>
        </pc:sldMkLst>
      </pc:sldChg>
      <pc:sldChg chg="addSp modSp add mod">
        <pc:chgData name="Ambrosi, Gianluca (UT-ITC)" userId="64130bdc-4258-4a7e-bca2-b0a19a9c0d34" providerId="ADAL" clId="{1C6E4521-AF21-4306-B941-766EDF733EE5}" dt="2024-09-04T12:39:33.784" v="1238" actId="207"/>
        <pc:sldMkLst>
          <pc:docMk/>
          <pc:sldMk cId="1550803899" sldId="362"/>
        </pc:sldMkLst>
      </pc:sldChg>
      <pc:sldChg chg="new">
        <pc:chgData name="Ambrosi, Gianluca (UT-ITC)" userId="64130bdc-4258-4a7e-bca2-b0a19a9c0d34" providerId="ADAL" clId="{1C6E4521-AF21-4306-B941-766EDF733EE5}" dt="2024-08-16T08:11:55.570" v="1046" actId="680"/>
        <pc:sldMkLst>
          <pc:docMk/>
          <pc:sldMk cId="2205917416" sldId="363"/>
        </pc:sldMkLst>
      </pc:sldChg>
      <pc:sldChg chg="add">
        <pc:chgData name="Ambrosi, Gianluca (UT-ITC)" userId="64130bdc-4258-4a7e-bca2-b0a19a9c0d34" providerId="ADAL" clId="{1C6E4521-AF21-4306-B941-766EDF733EE5}" dt="2024-09-04T12:22:29.415" v="1144" actId="2890"/>
        <pc:sldMkLst>
          <pc:docMk/>
          <pc:sldMk cId="3854369175" sldId="364"/>
        </pc:sldMkLst>
      </pc:sldChg>
      <pc:sldChg chg="modSp add mod">
        <pc:chgData name="Ambrosi, Gianluca (UT-ITC)" userId="64130bdc-4258-4a7e-bca2-b0a19a9c0d34" providerId="ADAL" clId="{1C6E4521-AF21-4306-B941-766EDF733EE5}" dt="2024-09-04T12:23:15.920" v="1147" actId="207"/>
        <pc:sldMkLst>
          <pc:docMk/>
          <pc:sldMk cId="118263633" sldId="365"/>
        </pc:sldMkLst>
      </pc:sldChg>
      <pc:sldChg chg="modSp add mod">
        <pc:chgData name="Ambrosi, Gianluca (UT-ITC)" userId="64130bdc-4258-4a7e-bca2-b0a19a9c0d34" providerId="ADAL" clId="{1C6E4521-AF21-4306-B941-766EDF733EE5}" dt="2024-09-04T12:23:21.514" v="1149" actId="207"/>
        <pc:sldMkLst>
          <pc:docMk/>
          <pc:sldMk cId="419287968" sldId="366"/>
        </pc:sldMkLst>
      </pc:sldChg>
      <pc:sldChg chg="modSp add mod">
        <pc:chgData name="Ambrosi, Gianluca (UT-ITC)" userId="64130bdc-4258-4a7e-bca2-b0a19a9c0d34" providerId="ADAL" clId="{1C6E4521-AF21-4306-B941-766EDF733EE5}" dt="2024-09-04T12:23:29.564" v="1151" actId="207"/>
        <pc:sldMkLst>
          <pc:docMk/>
          <pc:sldMk cId="193145674" sldId="367"/>
        </pc:sldMkLst>
      </pc:sldChg>
      <pc:sldChg chg="modSp add mod">
        <pc:chgData name="Ambrosi, Gianluca (UT-ITC)" userId="64130bdc-4258-4a7e-bca2-b0a19a9c0d34" providerId="ADAL" clId="{1C6E4521-AF21-4306-B941-766EDF733EE5}" dt="2024-09-04T12:24:00.553" v="1153" actId="207"/>
        <pc:sldMkLst>
          <pc:docMk/>
          <pc:sldMk cId="707528846" sldId="368"/>
        </pc:sldMkLst>
      </pc:sldChg>
      <pc:sldChg chg="modSp add mod">
        <pc:chgData name="Ambrosi, Gianluca (UT-ITC)" userId="64130bdc-4258-4a7e-bca2-b0a19a9c0d34" providerId="ADAL" clId="{1C6E4521-AF21-4306-B941-766EDF733EE5}" dt="2024-09-04T12:24:12.761" v="1155" actId="207"/>
        <pc:sldMkLst>
          <pc:docMk/>
          <pc:sldMk cId="2127714784" sldId="369"/>
        </pc:sldMkLst>
      </pc:sldChg>
      <pc:sldChg chg="modSp add mod">
        <pc:chgData name="Ambrosi, Gianluca (UT-ITC)" userId="64130bdc-4258-4a7e-bca2-b0a19a9c0d34" providerId="ADAL" clId="{1C6E4521-AF21-4306-B941-766EDF733EE5}" dt="2024-09-04T12:24:38.301" v="1158" actId="20578"/>
        <pc:sldMkLst>
          <pc:docMk/>
          <pc:sldMk cId="1010399528" sldId="370"/>
        </pc:sldMkLst>
      </pc:sldChg>
      <pc:sldChg chg="add del">
        <pc:chgData name="Ambrosi, Gianluca (UT-ITC)" userId="64130bdc-4258-4a7e-bca2-b0a19a9c0d34" providerId="ADAL" clId="{1C6E4521-AF21-4306-B941-766EDF733EE5}" dt="2024-09-04T12:31:41.363" v="1228" actId="47"/>
        <pc:sldMkLst>
          <pc:docMk/>
          <pc:sldMk cId="4116506358" sldId="371"/>
        </pc:sldMkLst>
      </pc:sldChg>
      <pc:sldChg chg="modSp add mod">
        <pc:chgData name="Ambrosi, Gianluca (UT-ITC)" userId="64130bdc-4258-4a7e-bca2-b0a19a9c0d34" providerId="ADAL" clId="{1C6E4521-AF21-4306-B941-766EDF733EE5}" dt="2024-09-04T12:30:58.396" v="1217" actId="207"/>
        <pc:sldMkLst>
          <pc:docMk/>
          <pc:sldMk cId="1321918961" sldId="372"/>
        </pc:sldMkLst>
      </pc:sldChg>
      <pc:sldChg chg="modSp add mod">
        <pc:chgData name="Ambrosi, Gianluca (UT-ITC)" userId="64130bdc-4258-4a7e-bca2-b0a19a9c0d34" providerId="ADAL" clId="{1C6E4521-AF21-4306-B941-766EDF733EE5}" dt="2024-09-04T12:31:11.790" v="1222" actId="207"/>
        <pc:sldMkLst>
          <pc:docMk/>
          <pc:sldMk cId="1021834280" sldId="373"/>
        </pc:sldMkLst>
      </pc:sldChg>
      <pc:sldChg chg="modSp add mod">
        <pc:chgData name="Ambrosi, Gianluca (UT-ITC)" userId="64130bdc-4258-4a7e-bca2-b0a19a9c0d34" providerId="ADAL" clId="{1C6E4521-AF21-4306-B941-766EDF733EE5}" dt="2024-09-04T12:31:18.431" v="1225" actId="207"/>
        <pc:sldMkLst>
          <pc:docMk/>
          <pc:sldMk cId="390833714" sldId="374"/>
        </pc:sldMkLst>
      </pc:sldChg>
      <pc:sldChg chg="modSp add mod">
        <pc:chgData name="Ambrosi, Gianluca (UT-ITC)" userId="64130bdc-4258-4a7e-bca2-b0a19a9c0d34" providerId="ADAL" clId="{1C6E4521-AF21-4306-B941-766EDF733EE5}" dt="2024-09-04T12:31:27.695" v="1227" actId="207"/>
        <pc:sldMkLst>
          <pc:docMk/>
          <pc:sldMk cId="1826421489" sldId="375"/>
        </pc:sldMkLst>
      </pc:sldChg>
      <pc:sldChg chg="add">
        <pc:chgData name="Ambrosi, Gianluca (UT-ITC)" userId="64130bdc-4258-4a7e-bca2-b0a19a9c0d34" providerId="ADAL" clId="{1C6E4521-AF21-4306-B941-766EDF733EE5}" dt="2024-09-04T12:38:18.681" v="1229" actId="2890"/>
        <pc:sldMkLst>
          <pc:docMk/>
          <pc:sldMk cId="1822584967" sldId="376"/>
        </pc:sldMkLst>
      </pc:sldChg>
      <pc:sldChg chg="modSp add mod">
        <pc:chgData name="Ambrosi, Gianluca (UT-ITC)" userId="64130bdc-4258-4a7e-bca2-b0a19a9c0d34" providerId="ADAL" clId="{1C6E4521-AF21-4306-B941-766EDF733EE5}" dt="2024-09-04T12:38:38.321" v="1232" actId="207"/>
        <pc:sldMkLst>
          <pc:docMk/>
          <pc:sldMk cId="2125332141" sldId="377"/>
        </pc:sldMkLst>
      </pc:sldChg>
      <pc:sldChg chg="modSp add mod">
        <pc:chgData name="Ambrosi, Gianluca (UT-ITC)" userId="64130bdc-4258-4a7e-bca2-b0a19a9c0d34" providerId="ADAL" clId="{1C6E4521-AF21-4306-B941-766EDF733EE5}" dt="2024-09-04T12:39:10.458" v="1236" actId="207"/>
        <pc:sldMkLst>
          <pc:docMk/>
          <pc:sldMk cId="1777699668" sldId="378"/>
        </pc:sldMkLst>
      </pc:sldChg>
      <pc:sldChg chg="add">
        <pc:chgData name="Ambrosi, Gianluca (UT-ITC)" userId="64130bdc-4258-4a7e-bca2-b0a19a9c0d34" providerId="ADAL" clId="{1C6E4521-AF21-4306-B941-766EDF733EE5}" dt="2024-09-04T12:39:21.038" v="1237" actId="2890"/>
        <pc:sldMkLst>
          <pc:docMk/>
          <pc:sldMk cId="317006036" sldId="379"/>
        </pc:sldMkLst>
      </pc:sldChg>
      <pc:sldChg chg="modSp add mod">
        <pc:chgData name="Ambrosi, Gianluca (UT-ITC)" userId="64130bdc-4258-4a7e-bca2-b0a19a9c0d34" providerId="ADAL" clId="{1C6E4521-AF21-4306-B941-766EDF733EE5}" dt="2024-09-04T12:43:25.623" v="1240" actId="207"/>
        <pc:sldMkLst>
          <pc:docMk/>
          <pc:sldMk cId="2746439496" sldId="380"/>
        </pc:sldMkLst>
      </pc:sldChg>
      <pc:sldChg chg="modSp add mod">
        <pc:chgData name="Ambrosi, Gianluca (UT-ITC)" userId="64130bdc-4258-4a7e-bca2-b0a19a9c0d34" providerId="ADAL" clId="{1C6E4521-AF21-4306-B941-766EDF733EE5}" dt="2024-09-04T12:43:37.343" v="1242" actId="207"/>
        <pc:sldMkLst>
          <pc:docMk/>
          <pc:sldMk cId="2343721722" sldId="381"/>
        </pc:sldMkLst>
      </pc:sldChg>
    </pc:docChg>
  </pc:docChgLst>
  <pc:docChgLst>
    <pc:chgData name="Dahal, Ashok (UT-ITC)" userId="d9490206-4512-4fbb-85ae-d27a3553ca64" providerId="ADAL" clId="{6CCBA27F-FBAC-4941-9DAF-96E1C81CA13C}"/>
    <pc:docChg chg="delSld modSld">
      <pc:chgData name="Dahal, Ashok (UT-ITC)" userId="d9490206-4512-4fbb-85ae-d27a3553ca64" providerId="ADAL" clId="{6CCBA27F-FBAC-4941-9DAF-96E1C81CA13C}" dt="2024-12-10T08:43:41.593" v="7" actId="729"/>
      <pc:docMkLst>
        <pc:docMk/>
      </pc:docMkLst>
      <pc:sldChg chg="del">
        <pc:chgData name="Dahal, Ashok (UT-ITC)" userId="d9490206-4512-4fbb-85ae-d27a3553ca64" providerId="ADAL" clId="{6CCBA27F-FBAC-4941-9DAF-96E1C81CA13C}" dt="2024-12-10T08:42:55.662" v="0" actId="47"/>
        <pc:sldMkLst>
          <pc:docMk/>
          <pc:sldMk cId="2035827547" sldId="342"/>
        </pc:sldMkLst>
      </pc:sldChg>
      <pc:sldChg chg="del">
        <pc:chgData name="Dahal, Ashok (UT-ITC)" userId="d9490206-4512-4fbb-85ae-d27a3553ca64" providerId="ADAL" clId="{6CCBA27F-FBAC-4941-9DAF-96E1C81CA13C}" dt="2024-12-10T08:42:56.262" v="1" actId="47"/>
        <pc:sldMkLst>
          <pc:docMk/>
          <pc:sldMk cId="838759490" sldId="343"/>
        </pc:sldMkLst>
      </pc:sldChg>
      <pc:sldChg chg="mod modShow">
        <pc:chgData name="Dahal, Ashok (UT-ITC)" userId="d9490206-4512-4fbb-85ae-d27a3553ca64" providerId="ADAL" clId="{6CCBA27F-FBAC-4941-9DAF-96E1C81CA13C}" dt="2024-12-10T08:43:13.025" v="3" actId="729"/>
        <pc:sldMkLst>
          <pc:docMk/>
          <pc:sldMk cId="477426983" sldId="344"/>
        </pc:sldMkLst>
      </pc:sldChg>
      <pc:sldChg chg="mod modShow">
        <pc:chgData name="Dahal, Ashok (UT-ITC)" userId="d9490206-4512-4fbb-85ae-d27a3553ca64" providerId="ADAL" clId="{6CCBA27F-FBAC-4941-9DAF-96E1C81CA13C}" dt="2024-12-10T08:43:16.677" v="4" actId="729"/>
        <pc:sldMkLst>
          <pc:docMk/>
          <pc:sldMk cId="1189397871" sldId="345"/>
        </pc:sldMkLst>
      </pc:sldChg>
      <pc:sldChg chg="mod modShow">
        <pc:chgData name="Dahal, Ashok (UT-ITC)" userId="d9490206-4512-4fbb-85ae-d27a3553ca64" providerId="ADAL" clId="{6CCBA27F-FBAC-4941-9DAF-96E1C81CA13C}" dt="2024-12-10T08:43:36.612" v="6" actId="729"/>
        <pc:sldMkLst>
          <pc:docMk/>
          <pc:sldMk cId="4091042313" sldId="346"/>
        </pc:sldMkLst>
      </pc:sldChg>
      <pc:sldChg chg="mod modShow">
        <pc:chgData name="Dahal, Ashok (UT-ITC)" userId="d9490206-4512-4fbb-85ae-d27a3553ca64" providerId="ADAL" clId="{6CCBA27F-FBAC-4941-9DAF-96E1C81CA13C}" dt="2024-12-10T08:43:41.593" v="7" actId="729"/>
        <pc:sldMkLst>
          <pc:docMk/>
          <pc:sldMk cId="1938769361" sldId="347"/>
        </pc:sldMkLst>
      </pc:sldChg>
      <pc:sldChg chg="mod modShow">
        <pc:chgData name="Dahal, Ashok (UT-ITC)" userId="d9490206-4512-4fbb-85ae-d27a3553ca64" providerId="ADAL" clId="{6CCBA27F-FBAC-4941-9DAF-96E1C81CA13C}" dt="2024-12-10T08:43:20.628" v="5" actId="729"/>
        <pc:sldMkLst>
          <pc:docMk/>
          <pc:sldMk cId="3605155087" sldId="349"/>
        </pc:sldMkLst>
      </pc:sldChg>
      <pc:sldChg chg="del">
        <pc:chgData name="Dahal, Ashok (UT-ITC)" userId="d9490206-4512-4fbb-85ae-d27a3553ca64" providerId="ADAL" clId="{6CCBA27F-FBAC-4941-9DAF-96E1C81CA13C}" dt="2024-12-10T08:42:59.769" v="2" actId="47"/>
        <pc:sldMkLst>
          <pc:docMk/>
          <pc:sldMk cId="2205917416" sldId="363"/>
        </pc:sldMkLst>
      </pc:sldChg>
    </pc:docChg>
  </pc:docChgLst>
  <pc:docChgLst>
    <pc:chgData name="Dahal, Ashok (UT-ITC)" userId="d9490206-4512-4fbb-85ae-d27a3553ca64" providerId="ADAL" clId="{75D16A21-1F5F-C348-9C12-DED9FFE41980}"/>
    <pc:docChg chg="modShowInfo">
      <pc:chgData name="Dahal, Ashok (UT-ITC)" userId="d9490206-4512-4fbb-85ae-d27a3553ca64" providerId="ADAL" clId="{75D16A21-1F5F-C348-9C12-DED9FFE41980}" dt="2024-12-18T12:57:20.390" v="0" actId="2744"/>
      <pc:docMkLst>
        <pc:docMk/>
      </pc:docMkLst>
    </pc:docChg>
  </pc:docChgLst>
</pc:chgInfo>
</file>

<file path=ppt/comments/modernComment_165_1CC5062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363EB9-4664-4845-BAED-3377DF3A24B4}" authorId="{4BDA6989-5757-9284-1598-BF4D949C2D60}" status="resolved" created="2024-08-14T09:29:31.366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82674211" sldId="357"/>
      <ac:picMk id="8" creationId="{DB11EE90-DF40-7B1E-F829-CA3BFBE461F7}"/>
    </ac:deMkLst>
    <p188:replyLst>
      <p188:reply id="{FB0144A4-8C68-4D2D-A2A6-64CF9BD4D6AF}" authorId="{A26AF41A-37EE-44DA-66E1-5670CA585BD3}" created="2024-08-16T07:33:56.044">
        <p188:txBody>
          <a:bodyPr/>
          <a:lstStyle/>
          <a:p>
            <a:r>
              <a:rPr lang="en-001"/>
              <a:t>Sure! Can you add the link please?</a:t>
            </a:r>
          </a:p>
        </p188:txBody>
      </p188:reply>
      <p188:reply id="{83E8DEA1-173C-344E-9FDE-B21ED0B451F3}" authorId="{4BDA6989-5757-9284-1598-BF4D949C2D60}" created="2024-08-23T11:20:40.139">
        <p188:txBody>
          <a:bodyPr/>
          <a:lstStyle/>
          <a:p>
            <a:r>
              <a:rPr lang="en-GB"/>
              <a:t>https://www.youtube.com/embed/3wLqsRLvV-c?feature=oembed</a:t>
            </a:r>
          </a:p>
        </p188:txBody>
      </p188:reply>
    </p188:replyLst>
    <p188:txBody>
      <a:bodyPr/>
      <a:lstStyle/>
      <a:p>
        <a:r>
          <a:rPr lang="en-GB"/>
          <a:t>may be we can add this in the descriptipon. It is a cool video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18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001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13BC92-D643-4D95-AEBB-DB0797DADD2B}" type="datetimeFigureOut">
              <a:rPr lang="en-001" smtClean="0"/>
              <a:t>12/18/24</a:t>
            </a:fld>
            <a:endParaRPr lang="en-001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001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00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00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3628DC-37A0-49FC-B194-C80EEC6D23A0}" type="slidenum">
              <a:rPr lang="en-001" smtClean="0"/>
              <a:t>‹#›</a:t>
            </a:fld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3296190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20">
            <a:extLst>
              <a:ext uri="{FF2B5EF4-FFF2-40B4-BE49-F238E27FC236}">
                <a16:creationId xmlns:a16="http://schemas.microsoft.com/office/drawing/2014/main" id="{0E858BE0-5032-1173-2CF4-3DD02966B8A0}"/>
              </a:ext>
            </a:extLst>
          </p:cNvPr>
          <p:cNvPicPr/>
          <p:nvPr userDrawn="1"/>
        </p:nvPicPr>
        <p:blipFill rotWithShape="1"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9" b="-1731"/>
          <a:stretch/>
        </p:blipFill>
        <p:spPr>
          <a:xfrm>
            <a:off x="-448182" y="-683923"/>
            <a:ext cx="10325061" cy="10058442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4E375029-89BF-3D97-AEB5-1C3B6F927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7768" y="2298175"/>
            <a:ext cx="7181142" cy="1325563"/>
          </a:xfrm>
          <a:prstGeom prst="rect">
            <a:avLst/>
          </a:prstGeom>
        </p:spPr>
        <p:txBody>
          <a:bodyPr/>
          <a:lstStyle>
            <a:lvl1pPr>
              <a:defRPr sz="45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00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27DF7BF-B535-378A-CE28-6AE022F674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0249" y="3764084"/>
            <a:ext cx="7019924" cy="5595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Graphic 20">
            <a:extLst>
              <a:ext uri="{FF2B5EF4-FFF2-40B4-BE49-F238E27FC236}">
                <a16:creationId xmlns:a16="http://schemas.microsoft.com/office/drawing/2014/main" id="{04F1DCA4-8A42-8030-9669-0C60582AB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6AC7262-D012-88FF-2A7A-818E2375EF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923" y="6329242"/>
            <a:ext cx="4142121" cy="305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604452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5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AD901-2058-4AF9-A478-498C88A7F765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673914-1C95-2E34-7087-EDBE2305B11F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B696A35-A467-8095-EB7F-59707A7AEB23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997DD12D-8731-6D03-278E-53708C0678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14F078E-2E6B-1ED4-090B-3E698E035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FF49F3D-C561-553C-8FEF-79F26FC6AF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0E4BD40-6868-3BF5-CC50-A8D9EC456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24FD0-4355-4B9A-BB7F-CB038BF1CBCE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667B6D-14FE-F010-A22A-10D908B773B9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8D538CAF-1641-B5CC-1A07-F92AD1F66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73214E7-5D92-8F60-B4DF-69CE4A9EB9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64CA3A4-3CA8-E4DE-D525-AACA759952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76F0676-AF3F-8C03-AE94-A8F203F973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58404-0354-47B2-AF02-6F46865A1146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123365-ADD2-A119-1A82-5E50190DEE32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EDD3BB3F-420A-3819-024F-99C3C8F7E6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9A2F035-10DE-752B-48C5-3FDED4889D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368A5B9-6DE1-6830-FE0F-ECDFF4DA8D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662313A2-645C-FCD9-BAF7-9FD2C92339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3">
            <a:extLst>
              <a:ext uri="{FF2B5EF4-FFF2-40B4-BE49-F238E27FC236}">
                <a16:creationId xmlns:a16="http://schemas.microsoft.com/office/drawing/2014/main" id="{42A134C6-DBB6-DD0D-B663-D8E6217454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/>
          <a:lstStyle>
            <a:lvl1pPr>
              <a:defRPr>
                <a:noFill/>
              </a:defRPr>
            </a:lvl1pPr>
          </a:lstStyle>
          <a:p>
            <a:endParaRPr lang="it-IT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FCC6A6-F2F6-9F9D-76EA-C14E8CAF8539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E20C39F-DB23-74B1-C452-C4DCA1896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6585434"/>
            <a:ext cx="398720" cy="180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D81EDD-2B6E-2170-6A32-4AC09549B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74" y="407235"/>
            <a:ext cx="10515600" cy="471220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8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B16C13BF-FD7C-20CA-254C-B3C6825751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685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0">
            <a:extLst>
              <a:ext uri="{FF2B5EF4-FFF2-40B4-BE49-F238E27FC236}">
                <a16:creationId xmlns:a16="http://schemas.microsoft.com/office/drawing/2014/main" id="{C8E94253-6F6D-C163-F992-73274DD3DB3F}"/>
              </a:ext>
            </a:extLst>
          </p:cNvPr>
          <p:cNvPicPr/>
          <p:nvPr userDrawn="1"/>
        </p:nvPicPr>
        <p:blipFill rotWithShape="1">
          <a:blip r:embed="rId2">
            <a:alphaModFix am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9" b="-1731"/>
          <a:stretch/>
        </p:blipFill>
        <p:spPr>
          <a:xfrm>
            <a:off x="-448182" y="-683923"/>
            <a:ext cx="10325061" cy="1005844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8203ED8-BBA0-8EC1-F694-9A17B2F5CAFE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78F90EC6-8D16-7BE3-4568-87BB5F4EB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7768" y="2298175"/>
            <a:ext cx="7181142" cy="1325563"/>
          </a:xfrm>
          <a:prstGeom prst="rect">
            <a:avLst/>
          </a:prstGeom>
        </p:spPr>
        <p:txBody>
          <a:bodyPr/>
          <a:lstStyle>
            <a:lvl1pPr>
              <a:defRPr sz="45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001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0998DCE-C3DD-7055-D6E7-9D69DCC5B7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0249" y="3764084"/>
            <a:ext cx="7019924" cy="5595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807C1C1-EA11-0046-974C-E19ACDA348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923" y="6329242"/>
            <a:ext cx="4142121" cy="305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pic>
        <p:nvPicPr>
          <p:cNvPr id="2" name="Graphic 20">
            <a:extLst>
              <a:ext uri="{FF2B5EF4-FFF2-40B4-BE49-F238E27FC236}">
                <a16:creationId xmlns:a16="http://schemas.microsoft.com/office/drawing/2014/main" id="{1E37CFDF-A498-612D-1BB9-2F333513F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06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9395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0">
            <a:extLst>
              <a:ext uri="{FF2B5EF4-FFF2-40B4-BE49-F238E27FC236}">
                <a16:creationId xmlns:a16="http://schemas.microsoft.com/office/drawing/2014/main" id="{C8E94253-6F6D-C163-F992-73274DD3DB3F}"/>
              </a:ext>
            </a:extLst>
          </p:cNvPr>
          <p:cNvPicPr/>
          <p:nvPr userDrawn="1"/>
        </p:nvPicPr>
        <p:blipFill rotWithShape="1"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9" b="-1731"/>
          <a:stretch/>
        </p:blipFill>
        <p:spPr>
          <a:xfrm>
            <a:off x="-448182" y="-683923"/>
            <a:ext cx="10325061" cy="1005844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8203ED8-BBA0-8EC1-F694-9A17B2F5CAFE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EECE6C3E-A366-A37C-73FA-F741F446D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7768" y="2298175"/>
            <a:ext cx="7181142" cy="1325563"/>
          </a:xfrm>
          <a:prstGeom prst="rect">
            <a:avLst/>
          </a:prstGeom>
        </p:spPr>
        <p:txBody>
          <a:bodyPr/>
          <a:lstStyle>
            <a:lvl1pPr>
              <a:defRPr sz="45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001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F7706A-0A1A-2427-45AD-80AC93BEAC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0249" y="3764084"/>
            <a:ext cx="7019924" cy="5595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20">
            <a:extLst>
              <a:ext uri="{FF2B5EF4-FFF2-40B4-BE49-F238E27FC236}">
                <a16:creationId xmlns:a16="http://schemas.microsoft.com/office/drawing/2014/main" id="{5BE0CB7C-B038-17D2-15C2-CF27A73CA6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6583CF9-0762-FBE1-9A53-F462398D3A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923" y="6329242"/>
            <a:ext cx="4142121" cy="305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254239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3C6E263-09CF-BA95-B02E-3896296EBF08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3593628-3B5B-3EEF-AEAC-547837D96983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184741B-40EC-CAAA-B090-BCED04E89E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3" name="Graphic 20">
            <a:extLst>
              <a:ext uri="{FF2B5EF4-FFF2-40B4-BE49-F238E27FC236}">
                <a16:creationId xmlns:a16="http://schemas.microsoft.com/office/drawing/2014/main" id="{7A917B75-0A7A-97D1-DE34-8FAB560FDE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B8C4C31-716F-4D90-433A-C5F4260646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DACECD1-5C0C-7C78-00E2-9894195A8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CB97AB-0481-2056-9DD5-FDF0D9F6D90F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3" name="Graphic 20">
            <a:extLst>
              <a:ext uri="{FF2B5EF4-FFF2-40B4-BE49-F238E27FC236}">
                <a16:creationId xmlns:a16="http://schemas.microsoft.com/office/drawing/2014/main" id="{C3A62A51-EA8A-2B7B-640C-A448C7F037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1827C2E-0ABD-ABCE-0635-6E757C1A6A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D2226BA-11BD-FE1B-3A4A-20FB0FC3F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3D18A40-1DBF-0540-F57A-C492B95853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13302-9366-42CB-95C3-54CAD4E8760C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C16F0C5-46E4-B044-96E6-836D1B8B4603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99AF3C61-81FB-7C94-21CC-10234E0FF9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DE9F87-128D-30DE-1E05-560CD8468AA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3B6E003-F09C-D030-2783-C353DDBB7B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B955225-D158-474C-4476-900705F592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6238E-9C92-464C-A3F8-DF39213B0929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BB0459C-C03D-8EFC-191E-80693C39E3DC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2C7F53-A6E5-0B1F-10B2-7232F2016060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20">
            <a:extLst>
              <a:ext uri="{FF2B5EF4-FFF2-40B4-BE49-F238E27FC236}">
                <a16:creationId xmlns:a16="http://schemas.microsoft.com/office/drawing/2014/main" id="{6D1D0525-2803-7AA5-DEAB-018A8030E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6CBA00C-6BB2-D781-693B-2B04A261C4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397F73A-F63F-9ABD-9065-8992A4C9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E8DF49D-2C2B-45E1-353A-E687815CAD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5787F-64AF-41A4-853E-8511DC9B5ECF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A8C8DE-A67B-AEE5-CF12-E14F6B957109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3" name="Graphic 20">
            <a:extLst>
              <a:ext uri="{FF2B5EF4-FFF2-40B4-BE49-F238E27FC236}">
                <a16:creationId xmlns:a16="http://schemas.microsoft.com/office/drawing/2014/main" id="{D461F32A-2DC0-C951-87C4-FFA088B253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2DA53A1-38A8-9A1C-81A0-DDA35B6B2C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F9EA09E-B144-CCE0-EC1B-559950C687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29220A9-9A1E-8BF5-284A-F3E4685902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E3297-1319-4B4B-9988-620B0E6B2578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B64802-60A1-9D97-7482-F6A074AD4767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FF326E6D-471C-E6EE-C663-3B1411C83F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74E373F-16EA-D254-E096-2DBD2E8D38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72E2CEF-93F4-57FE-22E8-6CEA256C68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2096429A-09EA-10EB-DB2B-E74CA20D65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reference here (YYYY)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7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65E1C2D-F15E-572C-96E4-AD872A4975D4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2573458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78" r:id="rId2"/>
    <p:sldLayoutId id="214748398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001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6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pos="3840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pos="7446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485" y="597434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6D011EDD-98E7-417A-B3D1-37D9A0AB9038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A5D154-79CE-4D1D-96D5-FD625224D186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8A870E3-D8A9-754F-EE55-4C662C9FED70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phic 20">
            <a:extLst>
              <a:ext uri="{FF2B5EF4-FFF2-40B4-BE49-F238E27FC236}">
                <a16:creationId xmlns:a16="http://schemas.microsoft.com/office/drawing/2014/main" id="{FD3FFE78-C43F-8A28-34FA-698C0B9929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100" b="1" kern="1200" cap="all" spc="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 userDrawn="1">
          <p15:clr>
            <a:srgbClr val="F26B43"/>
          </p15:clr>
        </p15:guide>
        <p15:guide id="2" pos="3960" userDrawn="1">
          <p15:clr>
            <a:srgbClr val="547EBF"/>
          </p15:clr>
        </p15:guide>
        <p15:guide id="3" pos="7446" userDrawn="1">
          <p15:clr>
            <a:srgbClr val="F26B43"/>
          </p15:clr>
        </p15:guide>
        <p15:guide id="4" orient="horz" pos="43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2280" userDrawn="1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655415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17118165-788D-4C29-8871-2F3BC8DC7AB7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6264EF-DDA5-8D43-F8F5-95B248D1F195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1CC6D3B-42A8-827F-B919-2CB0C9D74F3C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20">
            <a:extLst>
              <a:ext uri="{FF2B5EF4-FFF2-40B4-BE49-F238E27FC236}">
                <a16:creationId xmlns:a16="http://schemas.microsoft.com/office/drawing/2014/main" id="{E5F35C8B-C1E0-C2CD-E259-D58C3870D1E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100" b="1" kern="1200" cap="all" spc="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  <p15:guide id="4" orient="horz" pos="43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22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D888DF4F-06B9-4F9B-B15F-9358DF1B0FFF}" type="datetime1">
              <a:rPr lang="en-US" smtClean="0"/>
              <a:t>12/18/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082DB30-4611-4BA8-A59A-9080AC08C033}"/>
              </a:ext>
            </a:extLst>
          </p:cNvPr>
          <p:cNvSpPr txBox="1">
            <a:spLocks/>
          </p:cNvSpPr>
          <p:nvPr userDrawn="1"/>
        </p:nvSpPr>
        <p:spPr>
          <a:xfrm>
            <a:off x="597118" y="414057"/>
            <a:ext cx="10031168" cy="263922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9600" b="1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800" dirty="0">
                <a:latin typeface="Arial Black" panose="020B0A04020102020204" pitchFamily="34" charset="0"/>
              </a:rPr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8443AC-F48E-968F-A320-D2F26938E8AA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60C1D46-80C6-4499-29F8-F623325CA262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Graphic 20">
            <a:extLst>
              <a:ext uri="{FF2B5EF4-FFF2-40B4-BE49-F238E27FC236}">
                <a16:creationId xmlns:a16="http://schemas.microsoft.com/office/drawing/2014/main" id="{82A84AD0-2871-EDCC-E409-B0D0C350C5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92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>
          <p15:clr>
            <a:srgbClr val="F26B43"/>
          </p15:clr>
        </p15:guide>
        <p15:guide id="2" pos="3960">
          <p15:clr>
            <a:srgbClr val="F26B43"/>
          </p15:clr>
        </p15:guide>
        <p15:guide id="3" pos="7434">
          <p15:clr>
            <a:srgbClr val="F26B43"/>
          </p15:clr>
        </p15:guide>
        <p15:guide id="4" orient="horz" pos="43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22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65_1CC50623.xml"/><Relationship Id="rId2" Type="http://schemas.openxmlformats.org/officeDocument/2006/relationships/slideLayout" Target="../slideLayouts/slideLayout10.xml"/><Relationship Id="rId1" Type="http://schemas.openxmlformats.org/officeDocument/2006/relationships/video" Target="https://www.youtube.com/embed/3wLqsRLvV-c?feature=oembed" TargetMode="External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2D4A76-1AB8-9BA8-8412-1A3660EF0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7768" y="2502296"/>
            <a:ext cx="7181142" cy="1853407"/>
          </a:xfrm>
        </p:spPr>
        <p:txBody>
          <a:bodyPr/>
          <a:lstStyle/>
          <a:p>
            <a:r>
              <a:rPr lang="en-GB" dirty="0"/>
              <a:t>HISTORICAL DEVELOPMENT OF MACHINE LEARNING</a:t>
            </a:r>
            <a:endParaRPr lang="en-00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6A050B-AA9D-27D9-8095-281472864C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shok </a:t>
            </a:r>
            <a:r>
              <a:rPr lang="en-US" dirty="0" err="1"/>
              <a:t>Dahal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781910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0103995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Foundational for advanced neural networks and deep learning</a:t>
            </a:r>
            <a:endParaRPr lang="en-001" sz="2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8543691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Breakthroughs in neural network research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Development and refinement of foundational algorithms (e.g., backpropagation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New neural network architectures (e.g., multi-layer </a:t>
            </a:r>
            <a:r>
              <a:rPr lang="en-US" sz="2800" dirty="0" err="1">
                <a:solidFill>
                  <a:schemeClr val="bg1">
                    <a:lumMod val="85000"/>
                  </a:schemeClr>
                </a:solidFill>
              </a:rPr>
              <a:t>perceptrons</a:t>
            </a: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, convolutional neural networks, recurrent neural network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Other ML techniques gained popularity (e.g. decision trees, support vector machines, genetic algorithm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nitial real-world applications of ML (e.g. finance, medicine, engineering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rowth era</a:t>
            </a:r>
            <a:endParaRPr lang="en-00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D49C51E-B559-208C-47EA-7E92B4F10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1980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1108359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Breakthroughs in neural network research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velopment and refinement of foundational algorithms (e.g., backpropagation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New neural network architectures (e.g., multi-layer </a:t>
            </a:r>
            <a:r>
              <a:rPr lang="en-US" sz="2800" dirty="0" err="1">
                <a:solidFill>
                  <a:schemeClr val="bg1">
                    <a:lumMod val="85000"/>
                  </a:schemeClr>
                </a:solidFill>
              </a:rPr>
              <a:t>perceptrons</a:t>
            </a: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, convolutional neural networks, recurrent neural network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Other ML techniques gained popularity (e.g. decision trees, support vector machines, genetic algorithm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nitial real-world applications of ML (e.g. finance, medicine, engineering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rowth era</a:t>
            </a:r>
            <a:endParaRPr lang="en-00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D49C51E-B559-208C-47EA-7E92B4F10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1980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3219189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Breakthroughs in neural network research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velopment and refinement of foundational algorithms (e.g., backpropagation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New neural network architectures (e.g., multi-layer </a:t>
            </a:r>
            <a:r>
              <a:rPr lang="en-US" sz="2800" dirty="0" err="1"/>
              <a:t>perceptrons</a:t>
            </a:r>
            <a:r>
              <a:rPr lang="en-US" sz="2800" dirty="0"/>
              <a:t>, convolutional neural networks, recurrent neural network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Other ML techniques gained popularity (e.g. decision trees, support vector machines, genetic algorithm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nitial real-world applications of ML (e.g. finance, medicine, engineering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rowth era</a:t>
            </a:r>
            <a:endParaRPr lang="en-00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D49C51E-B559-208C-47EA-7E92B4F10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1980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021834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Breakthroughs in neural network research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velopment and refinement of foundational algorithms (e.g., backpropagation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New neural network architectures (e.g., multi-layer </a:t>
            </a:r>
            <a:r>
              <a:rPr lang="en-US" sz="2800" dirty="0" err="1"/>
              <a:t>perceptrons</a:t>
            </a:r>
            <a:r>
              <a:rPr lang="en-US" sz="2800" dirty="0"/>
              <a:t>, convolutional neural networks, recurrent neural network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Other ML techniques gained popularity (e.g. decision trees, support vector machines, genetic algorithm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nitial real-world applications of ML (e.g. finance, medicine, engineering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rowth era</a:t>
            </a:r>
            <a:endParaRPr lang="en-00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D49C51E-B559-208C-47EA-7E92B4F10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1980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90833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Breakthroughs in neural network research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velopment and refinement of foundational algorithms (e.g., backpropagation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New neural network architectures (e.g., multi-layer </a:t>
            </a:r>
            <a:r>
              <a:rPr lang="en-US" sz="2800" dirty="0" err="1"/>
              <a:t>perceptrons</a:t>
            </a:r>
            <a:r>
              <a:rPr lang="en-US" sz="2800" dirty="0"/>
              <a:t>, convolutional neural networks, recurrent neural network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Other ML techniques gained popularity (e.g. decision trees, support vector machines, genetic algorithms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Initial real-world applications of ML (e.g. finance, medicine, engineering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growth era</a:t>
            </a:r>
            <a:endParaRPr lang="en-00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D49C51E-B559-208C-47EA-7E92B4F10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1980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8264214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rapidly advancing due to better computation, data, and algorithm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Deep learning, with multi-layered neural networks, is driving significant breakthroughs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transformed fields like computer vision, language processing, and speech recognition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Research continues to push deep learning's capabilities in A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321523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rapidly advancing due to better computation, data, and algorithm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ep learning, with multi-layered neural networks, is driving significant breakthroughs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transformed fields like computer vision, language processing, and speech recognition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Research continues to push deep learning's capabilities in A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1253321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rapidly advancing due to better computation, data, and algorithm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ep learning, with multi-layered neural networks, is driving significant breakthroughs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It has transformed fields like computer vision, language processing, and speech recognition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Research continues to push deep learning's capabilities in A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777699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C22290-4E2C-0626-3BB3-4652A13C6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8" name="Online Media 7" descr="The Turing test: Can a computer pass for a human? - Alex Gendler">
            <a:hlinkClick r:id="" action="ppaction://media"/>
            <a:extLst>
              <a:ext uri="{FF2B5EF4-FFF2-40B4-BE49-F238E27FC236}">
                <a16:creationId xmlns:a16="http://schemas.microsoft.com/office/drawing/2014/main" id="{DB11EE90-DF40-7B1E-F829-CA3BFBE461F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3720" y="0"/>
            <a:ext cx="12188280" cy="6886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74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3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7440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rapidly advancing due to better computation, data, and algorithm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ep learning, with multi-layered neural networks, is driving significant breakthroughs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It has transformed fields like computer vision, language processing, and speech recognition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Research continues to push deep learning's capabilities in A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8225849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83865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increasingly embedded in everyday technologies, transforming our interactions with the world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E.g., personalized recommendations, virtual assistants, predictive maintenance, and healthcare diagnostic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The democratization of machine learning tools enables widespread innovation and creativity across various field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Rapid growth brings challenges like ethics, bias, and the need for transparency, requiring collaboration to ensure responsible AI developm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2D7E80D9-10AD-34CE-E9FF-BE91991C6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/>
              <a:t>ML in everyday life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5508038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83865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increasingly embedded in everyday technologies, transforming our interactions with the world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E.g., personalized recommendations, virtual assistants, predictive maintenance, and healthcare diagnostic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The democratization of machine learning tools enables widespread innovation and creativity across various field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Rapid growth brings challenges like ethics, bias, and the need for transparency, requiring collaboration to ensure responsible AI developm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2D7E80D9-10AD-34CE-E9FF-BE91991C6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/>
              <a:t>ML in everyday life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7464394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83865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increasingly embedded in everyday technologies, transforming our interactions with the world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E.g., personalized recommendations, virtual assistants, predictive maintenance, and healthcare diagnostic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The democratization of machine learning tools enables widespread innovation and creativity across various field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Rapid growth brings challenges like ethics, bias, and the need for transparency, requiring collaboration to ensure responsible AI developm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2D7E80D9-10AD-34CE-E9FF-BE91991C6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/>
              <a:t>ML in everyday life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3437217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6528" cy="383865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ML is increasingly embedded in everyday technologies, transforming our interactions with the world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E.g., personalized recommendations, virtual assistants, predictive maintenance, and healthcare diagnostic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The democratization of machine learning tools enables widespread innovation and creativity across various field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Rapid growth brings challenges like ethics, bias, and the need for transparency, requiring collaboration to ensure responsible AI developm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resent days</a:t>
            </a:r>
            <a:endParaRPr lang="en-001" dirty="0"/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2D7E80D9-10AD-34CE-E9FF-BE91991C6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/>
              <a:t>ML in everyday life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170060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C2CF58-CA64-6E7E-0A8D-0CBFD0307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747E8F5-A105-D048-D2D0-5569B255A0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I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F2CEA05-3BE0-5CAF-E443-9C74B130D4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0" y="0"/>
            <a:ext cx="71739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74269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C2CF58-CA64-6E7E-0A8D-0CBFD0307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5791" y="6197040"/>
            <a:ext cx="2111283" cy="660960"/>
          </a:xfrm>
        </p:spPr>
        <p:txBody>
          <a:bodyPr/>
          <a:lstStyle/>
          <a:p>
            <a:fld id="{F9FB0CC8-2783-4C0F-826D-494942753165}" type="slidenum">
              <a:rPr lang="en-US" smtClean="0"/>
              <a:pPr/>
              <a:t>26</a:t>
            </a:fld>
            <a:r>
              <a:rPr lang="en-US" dirty="0"/>
              <a:t>Cr</a:t>
            </a:r>
          </a:p>
        </p:txBody>
      </p:sp>
      <p:pic>
        <p:nvPicPr>
          <p:cNvPr id="5122" name="Picture 2" descr="AI_ML_DL">
            <a:extLst>
              <a:ext uri="{FF2B5EF4-FFF2-40B4-BE49-F238E27FC236}">
                <a16:creationId xmlns:a16="http://schemas.microsoft.com/office/drawing/2014/main" id="{F11CF478-6FB2-0868-F904-FE5F9CCBA6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61" y="0"/>
            <a:ext cx="1142419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6BF7EFE-AFEA-2BB0-C15C-F43C54C5CFA8}"/>
              </a:ext>
            </a:extLst>
          </p:cNvPr>
          <p:cNvSpPr txBox="1"/>
          <p:nvPr/>
        </p:nvSpPr>
        <p:spPr>
          <a:xfrm>
            <a:off x="362038" y="6488668"/>
            <a:ext cx="3156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redit: Matteo </a:t>
            </a:r>
            <a:r>
              <a:rPr lang="en-GB" dirty="0" err="1"/>
              <a:t>Ravasi</a:t>
            </a:r>
            <a:r>
              <a:rPr lang="en-GB" dirty="0"/>
              <a:t> et al, KAUST</a:t>
            </a:r>
          </a:p>
        </p:txBody>
      </p:sp>
    </p:spTree>
    <p:extLst>
      <p:ext uri="{BB962C8B-B14F-4D97-AF65-F5344CB8AC3E}">
        <p14:creationId xmlns:p14="http://schemas.microsoft.com/office/powerpoint/2010/main" val="11893978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C2CF58-CA64-6E7E-0A8D-0CBFD0307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5791" y="6197040"/>
            <a:ext cx="2111283" cy="660960"/>
          </a:xfrm>
        </p:spPr>
        <p:txBody>
          <a:bodyPr/>
          <a:lstStyle/>
          <a:p>
            <a:fld id="{F9FB0CC8-2783-4C0F-826D-494942753165}" type="slidenum">
              <a:rPr lang="en-US" smtClean="0"/>
              <a:pPr/>
              <a:t>27</a:t>
            </a:fld>
            <a:r>
              <a:rPr lang="en-US" dirty="0"/>
              <a:t>C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BF7EFE-AFEA-2BB0-C15C-F43C54C5CFA8}"/>
              </a:ext>
            </a:extLst>
          </p:cNvPr>
          <p:cNvSpPr txBox="1"/>
          <p:nvPr/>
        </p:nvSpPr>
        <p:spPr>
          <a:xfrm>
            <a:off x="362038" y="6488668"/>
            <a:ext cx="33602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redit: </a:t>
            </a:r>
            <a:r>
              <a:rPr lang="en-GB" dirty="0" err="1"/>
              <a:t>BeamLab</a:t>
            </a:r>
            <a:r>
              <a:rPr lang="en-GB" dirty="0"/>
              <a:t> and </a:t>
            </a:r>
            <a:r>
              <a:rPr lang="en-GB" dirty="0" err="1"/>
              <a:t>unkown</a:t>
            </a:r>
            <a:r>
              <a:rPr lang="en-GB" dirty="0"/>
              <a:t> source.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CE9A4AC2-5B2C-1CA8-B763-E754A61D6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65150"/>
            <a:ext cx="11734800" cy="5512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51550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058C43-4683-0503-EA38-E4E16E7FC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76E92F-10EF-4529-02E6-9108BB2F4C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argo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6E8A289-3428-91AD-0767-F36CC7F38F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at you must kno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05019D-AD25-7E6C-AAB0-51D9045027BA}"/>
              </a:ext>
            </a:extLst>
          </p:cNvPr>
          <p:cNvSpPr txBox="1"/>
          <p:nvPr/>
        </p:nvSpPr>
        <p:spPr>
          <a:xfrm>
            <a:off x="668061" y="2199658"/>
            <a:ext cx="610035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4000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Supervised Learning 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4000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Unsupervised Learning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4000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Semi-supervised Learning</a:t>
            </a:r>
            <a:endParaRPr lang="en-GB" sz="4000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40910423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058C43-4683-0503-EA38-E4E16E7FC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76E92F-10EF-4529-02E6-9108BB2F4C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argo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6E8A289-3428-91AD-0767-F36CC7F38F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at you must kno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05019D-AD25-7E6C-AAB0-51D9045027BA}"/>
              </a:ext>
            </a:extLst>
          </p:cNvPr>
          <p:cNvSpPr txBox="1"/>
          <p:nvPr/>
        </p:nvSpPr>
        <p:spPr>
          <a:xfrm>
            <a:off x="668060" y="2199658"/>
            <a:ext cx="753105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4000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Structured data (tables..)</a:t>
            </a:r>
            <a:endParaRPr lang="en-GB" sz="4000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4000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Unstructured data (video, images..)</a:t>
            </a:r>
            <a:endParaRPr lang="en-GB" sz="4000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938769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C2CF58-CA64-6E7E-0A8D-0CBFD0307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747E8F5-A105-D048-D2D0-5569B255A0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I</a:t>
            </a:r>
          </a:p>
        </p:txBody>
      </p:sp>
      <p:pic>
        <p:nvPicPr>
          <p:cNvPr id="7" name="m2-res_1080p">
            <a:hlinkClick r:id="" action="ppaction://media"/>
            <a:extLst>
              <a:ext uri="{FF2B5EF4-FFF2-40B4-BE49-F238E27FC236}">
                <a16:creationId xmlns:a16="http://schemas.microsoft.com/office/drawing/2014/main" id="{749FD08C-DC4B-CB37-C940-033A3973B48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934016" y="0"/>
            <a:ext cx="3911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073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40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>
                <a:solidFill>
                  <a:schemeClr val="bg1">
                    <a:lumMod val="85000"/>
                  </a:schemeClr>
                </a:solidFill>
              </a:rPr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>
                <a:solidFill>
                  <a:schemeClr val="bg1">
                    <a:lumMod val="85000"/>
                  </a:schemeClr>
                </a:solidFill>
              </a:rPr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08706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>
                <a:solidFill>
                  <a:schemeClr val="bg1">
                    <a:lumMod val="85000"/>
                  </a:schemeClr>
                </a:solidFill>
              </a:rPr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18263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>
                <a:solidFill>
                  <a:schemeClr val="bg1">
                    <a:lumMod val="85000"/>
                  </a:schemeClr>
                </a:solidFill>
              </a:rPr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419287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93145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707528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6648D7-5213-29C2-9C0E-C31C5C138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E39D-8925-C515-F940-E1C05D8DE97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67499"/>
            <a:ext cx="11052000" cy="4777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dirty="0"/>
              <a:t>WWII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Alan Turing and Marvin Minsky set the foundation of ML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0s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Turing Test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A human can’t distinguish between machine and human-based responses</a:t>
            </a:r>
          </a:p>
          <a:p>
            <a:pPr>
              <a:lnSpc>
                <a:spcPct val="100000"/>
              </a:lnSpc>
            </a:pPr>
            <a:r>
              <a:rPr lang="en-US" sz="2800" b="1" dirty="0"/>
              <a:t>1958</a:t>
            </a:r>
          </a:p>
          <a:p>
            <a:pPr lvl="1">
              <a:lnSpc>
                <a:spcPct val="100000"/>
              </a:lnSpc>
            </a:pPr>
            <a:r>
              <a:rPr lang="en-US" sz="2800" dirty="0"/>
              <a:t>Frank Rosenblatt father of the Perceptron algorithm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is a linear classifier for binary tasks, like "cat" or "not a cat”</a:t>
            </a:r>
          </a:p>
          <a:p>
            <a:pPr lvl="2">
              <a:lnSpc>
                <a:spcPct val="100000"/>
              </a:lnSpc>
            </a:pPr>
            <a:r>
              <a:rPr lang="en-US" sz="2800" dirty="0"/>
              <a:t>It has an input layer with weighted connections to a single output neuron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It adjusts weights during training to minimize prediction errors</a:t>
            </a:r>
          </a:p>
          <a:p>
            <a:pPr lvl="2">
              <a:lnSpc>
                <a:spcPct val="100000"/>
              </a:lnSpc>
            </a:pPr>
            <a:r>
              <a:rPr lang="en-US" sz="2800" dirty="0">
                <a:solidFill>
                  <a:schemeClr val="bg1">
                    <a:lumMod val="85000"/>
                  </a:schemeClr>
                </a:solidFill>
              </a:rPr>
              <a:t>Foundational for advanced neural networks and deep learning</a:t>
            </a:r>
            <a:endParaRPr lang="en-001" sz="2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9D1CC6-D03C-1EAF-1E89-10320E2F28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eginnings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127714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3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4.xml><?xml version="1.0" encoding="utf-8"?>
<a:theme xmlns:a="http://schemas.openxmlformats.org/drawingml/2006/main" name="Big image bold title slide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D0ECE10BA21842BCEAA4D4CD1D52C0" ma:contentTypeVersion="13" ma:contentTypeDescription="Create a new document." ma:contentTypeScope="" ma:versionID="98ec485dadd241a04599ccf60d1d34f6">
  <xsd:schema xmlns:xsd="http://www.w3.org/2001/XMLSchema" xmlns:xs="http://www.w3.org/2001/XMLSchema" xmlns:p="http://schemas.microsoft.com/office/2006/metadata/properties" xmlns:ns2="6670e30d-2b9a-43e5-813e-dda2484f271b" xmlns:ns3="2a5e13f5-ca3f-4902-8d4f-0fc2667b274f" targetNamespace="http://schemas.microsoft.com/office/2006/metadata/properties" ma:root="true" ma:fieldsID="4d18af41d8b166e62132f67d43e00caa" ns2:_="" ns3:_="">
    <xsd:import namespace="6670e30d-2b9a-43e5-813e-dda2484f271b"/>
    <xsd:import namespace="2a5e13f5-ca3f-4902-8d4f-0fc2667b27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0e30d-2b9a-43e5-813e-dda2484f27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5e13f5-ca3f-4902-8d4f-0fc2667b274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a5e13f5-ca3f-4902-8d4f-0fc2667b274f">
      <UserInfo>
        <DisplayName>Schwarz, Nina (UT-ITC)</DisplayName>
        <AccountId>28</AccountId>
        <AccountType/>
      </UserInfo>
      <UserInfo>
        <DisplayName>Augustijn, Ellen-Wien (UT-ITC)</DisplayName>
        <AccountId>29</AccountId>
        <AccountType/>
      </UserInfo>
      <UserInfo>
        <DisplayName>Dou, Yue (UT-ITC)</DisplayName>
        <AccountId>27</AccountId>
        <AccountType/>
      </UserInfo>
      <UserInfo>
        <DisplayName>Teeuwen, Aleid (UT-ITC)</DisplayName>
        <AccountId>113</AccountId>
        <AccountType/>
      </UserInfo>
      <UserInfo>
        <DisplayName>Virgilio Portela, Bruno (UT-ITC)</DisplayName>
        <AccountId>35</AccountId>
        <AccountType/>
      </UserInfo>
      <UserInfo>
        <DisplayName>Primera, Roseidys (UT-ITC)</DisplayName>
        <AccountId>23</AccountId>
        <AccountType/>
      </UserInfo>
      <UserInfo>
        <DisplayName>King, Janet (UT-ITC)</DisplayName>
        <AccountId>60</AccountId>
        <AccountType/>
      </UserInfo>
      <UserInfo>
        <DisplayName>Dahal, Ashok (UT-ITC)</DisplayName>
        <AccountId>16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956DAD8-0476-4F25-89AE-C077546241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70e30d-2b9a-43e5-813e-dda2484f271b"/>
    <ds:schemaRef ds:uri="2a5e13f5-ca3f-4902-8d4f-0fc2667b27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3F005D-20C1-47D7-855C-C5C9D4199643}">
  <ds:schemaRefs>
    <ds:schemaRef ds:uri="6670e30d-2b9a-43e5-813e-dda2484f271b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2a5e13f5-ca3f-4902-8d4f-0fc2667b274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University of Twente - Title Slides</Template>
  <TotalTime>2524</TotalTime>
  <Words>1614</Words>
  <Application>Microsoft Macintosh PowerPoint</Application>
  <PresentationFormat>Widescreen</PresentationFormat>
  <Paragraphs>205</Paragraphs>
  <Slides>29</Slides>
  <Notes>0</Notes>
  <HiddenSlides>0</HiddenSlides>
  <MMClips>2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-apple-system</vt:lpstr>
      <vt:lpstr>Arial</vt:lpstr>
      <vt:lpstr>Arial Black</vt:lpstr>
      <vt:lpstr>Arial Narrow</vt:lpstr>
      <vt:lpstr>Calibri</vt:lpstr>
      <vt:lpstr>Custom Design</vt:lpstr>
      <vt:lpstr>01 University of Twente - Title Slides</vt:lpstr>
      <vt:lpstr>05 University of Twente - Text slidesslides</vt:lpstr>
      <vt:lpstr>Big image bold title slide</vt:lpstr>
      <vt:lpstr>HISTORICAL DEVELOPMENT OF MACHINE LEARNING</vt:lpstr>
      <vt:lpstr>PowerPoint Presentation</vt:lpstr>
      <vt:lpstr>AI</vt:lpstr>
      <vt:lpstr>The beginnings</vt:lpstr>
      <vt:lpstr>The beginnings</vt:lpstr>
      <vt:lpstr>The beginnings</vt:lpstr>
      <vt:lpstr>The beginnings</vt:lpstr>
      <vt:lpstr>The beginnings</vt:lpstr>
      <vt:lpstr>The beginnings</vt:lpstr>
      <vt:lpstr>The beginnings</vt:lpstr>
      <vt:lpstr>The beginnings</vt:lpstr>
      <vt:lpstr>The growth era</vt:lpstr>
      <vt:lpstr>The growth era</vt:lpstr>
      <vt:lpstr>The growth era</vt:lpstr>
      <vt:lpstr>The growth era</vt:lpstr>
      <vt:lpstr>The growth era</vt:lpstr>
      <vt:lpstr>The present days</vt:lpstr>
      <vt:lpstr>The present days</vt:lpstr>
      <vt:lpstr>The present days</vt:lpstr>
      <vt:lpstr>The present days</vt:lpstr>
      <vt:lpstr>The present days</vt:lpstr>
      <vt:lpstr>The present days</vt:lpstr>
      <vt:lpstr>The present days</vt:lpstr>
      <vt:lpstr>The present days</vt:lpstr>
      <vt:lpstr>AI</vt:lpstr>
      <vt:lpstr>PowerPoint Presentation</vt:lpstr>
      <vt:lpstr>PowerPoint Presentation</vt:lpstr>
      <vt:lpstr>Jargon</vt:lpstr>
      <vt:lpstr>Jarg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Ambrosi, G.J. (Gianluca, Student M-EST)</dc:creator>
  <dc:description>Template by HQ Solutions</dc:description>
  <cp:lastModifiedBy>Dahal, Ashok (UT-ITC)</cp:lastModifiedBy>
  <cp:revision>30</cp:revision>
  <dcterms:created xsi:type="dcterms:W3CDTF">2023-07-28T06:49:30Z</dcterms:created>
  <dcterms:modified xsi:type="dcterms:W3CDTF">2024-12-18T12:5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D0ECE10BA21842BCEAA4D4CD1D52C0</vt:lpwstr>
  </property>
</Properties>
</file>